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69800" autoAdjust="0"/>
  </p:normalViewPr>
  <p:slideViewPr>
    <p:cSldViewPr snapToGrid="0">
      <p:cViewPr varScale="1">
        <p:scale>
          <a:sx n="79" d="100"/>
          <a:sy n="79" d="100"/>
        </p:scale>
        <p:origin x="102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以及机械臂服务器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软件部分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部分是智能叉车以及机械臂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下面具体描述各模块的功能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:a16="http://schemas.microsoft.com/office/drawing/2014/main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:a16="http://schemas.microsoft.com/office/drawing/2014/main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:a16="http://schemas.microsoft.com/office/drawing/2014/main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:a16="http://schemas.microsoft.com/office/drawing/2014/main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:a16="http://schemas.microsoft.com/office/drawing/2014/main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:a16="http://schemas.microsoft.com/office/drawing/2014/main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:a16="http://schemas.microsoft.com/office/drawing/2014/main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:a16="http://schemas.microsoft.com/office/drawing/2014/main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:a16="http://schemas.microsoft.com/office/drawing/2014/main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:a16="http://schemas.microsoft.com/office/drawing/2014/main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:a16="http://schemas.microsoft.com/office/drawing/2014/main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9/12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:a16="http://schemas.microsoft.com/office/drawing/2014/main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:a16="http://schemas.microsoft.com/office/drawing/2014/main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2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2018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:a16="http://schemas.microsoft.com/office/drawing/2014/main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:a16="http://schemas.microsoft.com/office/drawing/2014/main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:a16="http://schemas.microsoft.com/office/drawing/2014/main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:a16="http://schemas.microsoft.com/office/drawing/2014/main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:a16="http://schemas.microsoft.com/office/drawing/2014/main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:a16="http://schemas.microsoft.com/office/drawing/2014/main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:a16="http://schemas.microsoft.com/office/drawing/2014/main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:a16="http://schemas.microsoft.com/office/drawing/2014/main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:a16="http://schemas.microsoft.com/office/drawing/2014/main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:a16="http://schemas.microsoft.com/office/drawing/2014/main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:a16="http://schemas.microsoft.com/office/drawing/2014/main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:a16="http://schemas.microsoft.com/office/drawing/2014/main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:a16="http://schemas.microsoft.com/office/drawing/2014/main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:a16="http://schemas.microsoft.com/office/drawing/2014/main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:a16="http://schemas.microsoft.com/office/drawing/2014/main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60746" y="1500389"/>
            <a:ext cx="10546126" cy="4684372"/>
            <a:chOff x="757244" y="2122181"/>
            <a:chExt cx="10546126" cy="4684372"/>
          </a:xfrm>
        </p:grpSpPr>
        <p:sp>
          <p:nvSpPr>
            <p:cNvPr id="41" name="íslïḋe">
              <a:extLst>
                <a:ext uri="{FF2B5EF4-FFF2-40B4-BE49-F238E27FC236}">
                  <a16:creationId xmlns:a16="http://schemas.microsoft.com/office/drawing/2014/main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:a16="http://schemas.microsoft.com/office/drawing/2014/main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:a16="http://schemas.microsoft.com/office/drawing/2014/main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:a16="http://schemas.microsoft.com/office/drawing/2014/main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:a16="http://schemas.microsoft.com/office/drawing/2014/main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:a16="http://schemas.microsoft.com/office/drawing/2014/main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:a16="http://schemas.microsoft.com/office/drawing/2014/main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1075094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:a16="http://schemas.microsoft.com/office/drawing/2014/main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带有插杆的智能物流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:a16="http://schemas.microsoft.com/office/drawing/2014/main" id="{07A81F5A-9940-49CD-941E-7B9B2876F897}"/>
                </a:ext>
              </a:extLst>
            </p:cNvPr>
            <p:cNvGrpSpPr/>
            <p:nvPr/>
          </p:nvGrpSpPr>
          <p:grpSpPr>
            <a:xfrm>
              <a:off x="5677152" y="6072928"/>
              <a:ext cx="3340011" cy="733625"/>
              <a:chOff x="-194385" y="3438793"/>
              <a:chExt cx="2448805" cy="733625"/>
            </a:xfrm>
          </p:grpSpPr>
          <p:sp>
            <p:nvSpPr>
              <p:cNvPr id="56" name="iSļîḋé">
                <a:extLst>
                  <a:ext uri="{FF2B5EF4-FFF2-40B4-BE49-F238E27FC236}">
                    <a16:creationId xmlns:a16="http://schemas.microsoft.com/office/drawing/2014/main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-194385" y="3438793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:a16="http://schemas.microsoft.com/office/drawing/2014/main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55727" y="3826413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:a16="http://schemas.microsoft.com/office/drawing/2014/main" id="{25E58A64-5CAD-46F8-AB65-B98F6B473A4C}"/>
                </a:ext>
              </a:extLst>
            </p:cNvPr>
            <p:cNvGrpSpPr/>
            <p:nvPr/>
          </p:nvGrpSpPr>
          <p:grpSpPr>
            <a:xfrm>
              <a:off x="8100299" y="4327402"/>
              <a:ext cx="3203071" cy="752448"/>
              <a:chOff x="1241159" y="3421864"/>
              <a:chExt cx="2348404" cy="752448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:a16="http://schemas.microsoft.com/office/drawing/2014/main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241159" y="342186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手持</a:t>
                </a:r>
                <a:r>
                  <a:rPr lang="en-US" altLang="zh-CN" sz="2000" b="1" dirty="0"/>
                  <a:t>PDA</a:t>
                </a:r>
                <a:endParaRPr lang="zh-CN" altLang="en-US" sz="20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:a16="http://schemas.microsoft.com/office/drawing/2014/main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支持二维码，条形码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:a16="http://schemas.microsoft.com/office/drawing/2014/main" id="{AC5DAB4E-F69E-47E0-9FD0-F22F7CB5BE1E}"/>
                </a:ext>
              </a:extLst>
            </p:cNvPr>
            <p:cNvGrpSpPr/>
            <p:nvPr/>
          </p:nvGrpSpPr>
          <p:grpSpPr>
            <a:xfrm>
              <a:off x="757244" y="2519817"/>
              <a:ext cx="3889717" cy="750042"/>
              <a:chOff x="7766875" y="-360986"/>
              <a:chExt cx="2913014" cy="750042"/>
            </a:xfrm>
          </p:grpSpPr>
          <p:sp>
            <p:nvSpPr>
              <p:cNvPr id="52" name="iṣ1ídê">
                <a:extLst>
                  <a:ext uri="{FF2B5EF4-FFF2-40B4-BE49-F238E27FC236}">
                    <a16:creationId xmlns:a16="http://schemas.microsoft.com/office/drawing/2014/main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:a16="http://schemas.microsoft.com/office/drawing/2014/main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766875" y="23055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21346" y="2662719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80091" y="3433767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9886" y="4613812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31" name="iSļîḋé">
            <a:extLst>
              <a:ext uri="{FF2B5EF4-FFF2-40B4-BE49-F238E27FC236}">
                <a16:creationId xmlns:a16="http://schemas.microsoft.com/office/drawing/2014/main" id="{4178626E-CE92-4A90-BC2B-B524E38D1D85}"/>
              </a:ext>
            </a:extLst>
          </p:cNvPr>
          <p:cNvSpPr txBox="1"/>
          <p:nvPr/>
        </p:nvSpPr>
        <p:spPr>
          <a:xfrm>
            <a:off x="2957400" y="3788153"/>
            <a:ext cx="1137794" cy="407049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/>
              <a:t>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:a16="http://schemas.microsoft.com/office/drawing/2014/main" id="{5B49F077-F61D-4135-8133-23AAD583DB48}"/>
              </a:ext>
            </a:extLst>
          </p:cNvPr>
          <p:cNvSpPr txBox="1"/>
          <p:nvPr/>
        </p:nvSpPr>
        <p:spPr>
          <a:xfrm>
            <a:off x="2108858" y="4519885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:a16="http://schemas.microsoft.com/office/drawing/2014/main" id="{BBEF5D05-0FBB-4164-86BC-3F66B799E02F}"/>
              </a:ext>
            </a:extLst>
          </p:cNvPr>
          <p:cNvSpPr txBox="1"/>
          <p:nvPr/>
        </p:nvSpPr>
        <p:spPr>
          <a:xfrm>
            <a:off x="3456696" y="4149969"/>
            <a:ext cx="996966" cy="340267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zh-CN" altLang="en-US" sz="1000" dirty="0">
                <a:latin typeface="+mn-ea"/>
              </a:rPr>
              <a:t>六轴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:a16="http://schemas.microsoft.com/office/drawing/2014/main" id="{7E8E375B-FCE3-43BD-AE18-0629FCA42AFF}"/>
              </a:ext>
            </a:extLst>
          </p:cNvPr>
          <p:cNvSpPr/>
          <p:nvPr/>
        </p:nvSpPr>
        <p:spPr>
          <a:xfrm>
            <a:off x="4299236" y="3889631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sp>
        <p:nvSpPr>
          <p:cNvPr id="34" name="robotic-arm_3798">
            <a:extLst>
              <a:ext uri="{FF2B5EF4-FFF2-40B4-BE49-F238E27FC236}">
                <a16:creationId xmlns:a16="http://schemas.microsoft.com/office/drawing/2014/main" id="{0F98CD77-F9D1-4334-BB4E-6B6F07A87BF0}"/>
              </a:ext>
            </a:extLst>
          </p:cNvPr>
          <p:cNvSpPr>
            <a:spLocks noChangeAspect="1"/>
          </p:cNvSpPr>
          <p:nvPr/>
        </p:nvSpPr>
        <p:spPr bwMode="auto">
          <a:xfrm>
            <a:off x="6311645" y="2212940"/>
            <a:ext cx="609684" cy="607658"/>
          </a:xfrm>
          <a:custGeom>
            <a:avLst/>
            <a:gdLst>
              <a:gd name="connsiteX0" fmla="*/ 290528 w 607921"/>
              <a:gd name="connsiteY0" fmla="*/ 490956 h 605900"/>
              <a:gd name="connsiteX1" fmla="*/ 259609 w 607921"/>
              <a:gd name="connsiteY1" fmla="*/ 523214 h 605900"/>
              <a:gd name="connsiteX2" fmla="*/ 290528 w 607921"/>
              <a:gd name="connsiteY2" fmla="*/ 555473 h 605900"/>
              <a:gd name="connsiteX3" fmla="*/ 321540 w 607921"/>
              <a:gd name="connsiteY3" fmla="*/ 523214 h 605900"/>
              <a:gd name="connsiteX4" fmla="*/ 290528 w 607921"/>
              <a:gd name="connsiteY4" fmla="*/ 490956 h 605900"/>
              <a:gd name="connsiteX5" fmla="*/ 102042 w 607921"/>
              <a:gd name="connsiteY5" fmla="*/ 490956 h 605900"/>
              <a:gd name="connsiteX6" fmla="*/ 71030 w 607921"/>
              <a:gd name="connsiteY6" fmla="*/ 523214 h 605900"/>
              <a:gd name="connsiteX7" fmla="*/ 102042 w 607921"/>
              <a:gd name="connsiteY7" fmla="*/ 555473 h 605900"/>
              <a:gd name="connsiteX8" fmla="*/ 132961 w 607921"/>
              <a:gd name="connsiteY8" fmla="*/ 523214 h 605900"/>
              <a:gd name="connsiteX9" fmla="*/ 102042 w 607921"/>
              <a:gd name="connsiteY9" fmla="*/ 490956 h 605900"/>
              <a:gd name="connsiteX10" fmla="*/ 521520 w 607921"/>
              <a:gd name="connsiteY10" fmla="*/ 350714 h 605900"/>
              <a:gd name="connsiteX11" fmla="*/ 521520 w 607921"/>
              <a:gd name="connsiteY11" fmla="*/ 394466 h 605900"/>
              <a:gd name="connsiteX12" fmla="*/ 556324 w 607921"/>
              <a:gd name="connsiteY12" fmla="*/ 394466 h 605900"/>
              <a:gd name="connsiteX13" fmla="*/ 556324 w 607921"/>
              <a:gd name="connsiteY13" fmla="*/ 350714 h 605900"/>
              <a:gd name="connsiteX14" fmla="*/ 50510 w 607921"/>
              <a:gd name="connsiteY14" fmla="*/ 349500 h 605900"/>
              <a:gd name="connsiteX15" fmla="*/ 50510 w 607921"/>
              <a:gd name="connsiteY15" fmla="*/ 459346 h 605900"/>
              <a:gd name="connsiteX16" fmla="*/ 102135 w 607921"/>
              <a:gd name="connsiteY16" fmla="*/ 440900 h 605900"/>
              <a:gd name="connsiteX17" fmla="*/ 166294 w 607921"/>
              <a:gd name="connsiteY17" fmla="*/ 471860 h 605900"/>
              <a:gd name="connsiteX18" fmla="*/ 226461 w 607921"/>
              <a:gd name="connsiteY18" fmla="*/ 471860 h 605900"/>
              <a:gd name="connsiteX19" fmla="*/ 290528 w 607921"/>
              <a:gd name="connsiteY19" fmla="*/ 440900 h 605900"/>
              <a:gd name="connsiteX20" fmla="*/ 327946 w 607921"/>
              <a:gd name="connsiteY20" fmla="*/ 450077 h 605900"/>
              <a:gd name="connsiteX21" fmla="*/ 327946 w 607921"/>
              <a:gd name="connsiteY21" fmla="*/ 349500 h 605900"/>
              <a:gd name="connsiteX22" fmla="*/ 495718 w 607921"/>
              <a:gd name="connsiteY22" fmla="*/ 299082 h 605900"/>
              <a:gd name="connsiteX23" fmla="*/ 580827 w 607921"/>
              <a:gd name="connsiteY23" fmla="*/ 299082 h 605900"/>
              <a:gd name="connsiteX24" fmla="*/ 606721 w 607921"/>
              <a:gd name="connsiteY24" fmla="*/ 324851 h 605900"/>
              <a:gd name="connsiteX25" fmla="*/ 606721 w 607921"/>
              <a:gd name="connsiteY25" fmla="*/ 418938 h 605900"/>
              <a:gd name="connsiteX26" fmla="*/ 580827 w 607921"/>
              <a:gd name="connsiteY26" fmla="*/ 444800 h 605900"/>
              <a:gd name="connsiteX27" fmla="*/ 495718 w 607921"/>
              <a:gd name="connsiteY27" fmla="*/ 444800 h 605900"/>
              <a:gd name="connsiteX28" fmla="*/ 469824 w 607921"/>
              <a:gd name="connsiteY28" fmla="*/ 418938 h 605900"/>
              <a:gd name="connsiteX29" fmla="*/ 469824 w 607921"/>
              <a:gd name="connsiteY29" fmla="*/ 324851 h 605900"/>
              <a:gd name="connsiteX30" fmla="*/ 495718 w 607921"/>
              <a:gd name="connsiteY30" fmla="*/ 299082 h 605900"/>
              <a:gd name="connsiteX31" fmla="*/ 419582 w 607921"/>
              <a:gd name="connsiteY31" fmla="*/ 216591 h 605900"/>
              <a:gd name="connsiteX32" fmla="*/ 445387 w 607921"/>
              <a:gd name="connsiteY32" fmla="*/ 242453 h 605900"/>
              <a:gd name="connsiteX33" fmla="*/ 445387 w 607921"/>
              <a:gd name="connsiteY33" fmla="*/ 473076 h 605900"/>
              <a:gd name="connsiteX34" fmla="*/ 582209 w 607921"/>
              <a:gd name="connsiteY34" fmla="*/ 473076 h 605900"/>
              <a:gd name="connsiteX35" fmla="*/ 607921 w 607921"/>
              <a:gd name="connsiteY35" fmla="*/ 498938 h 605900"/>
              <a:gd name="connsiteX36" fmla="*/ 580816 w 607921"/>
              <a:gd name="connsiteY36" fmla="*/ 523409 h 605900"/>
              <a:gd name="connsiteX37" fmla="*/ 419582 w 607921"/>
              <a:gd name="connsiteY37" fmla="*/ 523409 h 605900"/>
              <a:gd name="connsiteX38" fmla="*/ 393684 w 607921"/>
              <a:gd name="connsiteY38" fmla="*/ 497547 h 605900"/>
              <a:gd name="connsiteX39" fmla="*/ 393684 w 607921"/>
              <a:gd name="connsiteY39" fmla="*/ 242453 h 605900"/>
              <a:gd name="connsiteX40" fmla="*/ 419582 w 607921"/>
              <a:gd name="connsiteY40" fmla="*/ 216591 h 605900"/>
              <a:gd name="connsiteX41" fmla="*/ 100742 w 607921"/>
              <a:gd name="connsiteY41" fmla="*/ 51758 h 605900"/>
              <a:gd name="connsiteX42" fmla="*/ 100742 w 607921"/>
              <a:gd name="connsiteY42" fmla="*/ 299073 h 605900"/>
              <a:gd name="connsiteX43" fmla="*/ 245403 w 607921"/>
              <a:gd name="connsiteY43" fmla="*/ 299073 h 605900"/>
              <a:gd name="connsiteX44" fmla="*/ 245403 w 607921"/>
              <a:gd name="connsiteY44" fmla="*/ 213978 h 605900"/>
              <a:gd name="connsiteX45" fmla="*/ 197585 w 607921"/>
              <a:gd name="connsiteY45" fmla="*/ 98107 h 605900"/>
              <a:gd name="connsiteX46" fmla="*/ 100742 w 607921"/>
              <a:gd name="connsiteY46" fmla="*/ 51758 h 605900"/>
              <a:gd name="connsiteX47" fmla="*/ 77994 w 607921"/>
              <a:gd name="connsiteY47" fmla="*/ 9 h 605900"/>
              <a:gd name="connsiteX48" fmla="*/ 82729 w 607921"/>
              <a:gd name="connsiteY48" fmla="*/ 219 h 605900"/>
              <a:gd name="connsiteX49" fmla="*/ 235003 w 607921"/>
              <a:gd name="connsiteY49" fmla="*/ 63345 h 605900"/>
              <a:gd name="connsiteX50" fmla="*/ 296842 w 607921"/>
              <a:gd name="connsiteY50" fmla="*/ 214163 h 605900"/>
              <a:gd name="connsiteX51" fmla="*/ 296842 w 607921"/>
              <a:gd name="connsiteY51" fmla="*/ 299166 h 605900"/>
              <a:gd name="connsiteX52" fmla="*/ 353666 w 607921"/>
              <a:gd name="connsiteY52" fmla="*/ 299166 h 605900"/>
              <a:gd name="connsiteX53" fmla="*/ 379292 w 607921"/>
              <a:gd name="connsiteY53" fmla="*/ 324843 h 605900"/>
              <a:gd name="connsiteX54" fmla="*/ 379292 w 607921"/>
              <a:gd name="connsiteY54" fmla="*/ 499021 h 605900"/>
              <a:gd name="connsiteX55" fmla="*/ 372514 w 607921"/>
              <a:gd name="connsiteY55" fmla="*/ 515799 h 605900"/>
              <a:gd name="connsiteX56" fmla="*/ 290342 w 607921"/>
              <a:gd name="connsiteY56" fmla="*/ 605900 h 605900"/>
              <a:gd name="connsiteX57" fmla="*/ 207706 w 607921"/>
              <a:gd name="connsiteY57" fmla="*/ 523492 h 605900"/>
              <a:gd name="connsiteX58" fmla="*/ 184493 w 607921"/>
              <a:gd name="connsiteY58" fmla="*/ 523492 h 605900"/>
              <a:gd name="connsiteX59" fmla="*/ 101856 w 607921"/>
              <a:gd name="connsiteY59" fmla="*/ 605900 h 605900"/>
              <a:gd name="connsiteX60" fmla="*/ 19313 w 607921"/>
              <a:gd name="connsiteY60" fmla="*/ 523492 h 605900"/>
              <a:gd name="connsiteX61" fmla="*/ 0 w 607921"/>
              <a:gd name="connsiteY61" fmla="*/ 497630 h 605900"/>
              <a:gd name="connsiteX62" fmla="*/ 0 w 607921"/>
              <a:gd name="connsiteY62" fmla="*/ 325029 h 605900"/>
              <a:gd name="connsiteX63" fmla="*/ 25905 w 607921"/>
              <a:gd name="connsiteY63" fmla="*/ 299166 h 605900"/>
              <a:gd name="connsiteX64" fmla="*/ 50418 w 607921"/>
              <a:gd name="connsiteY64" fmla="*/ 299166 h 605900"/>
              <a:gd name="connsiteX65" fmla="*/ 50418 w 607921"/>
              <a:gd name="connsiteY65" fmla="*/ 25988 h 605900"/>
              <a:gd name="connsiteX66" fmla="*/ 77994 w 607921"/>
              <a:gd name="connsiteY66" fmla="*/ 9 h 60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7921" h="605900">
                <a:moveTo>
                  <a:pt x="290528" y="490956"/>
                </a:moveTo>
                <a:cubicBezTo>
                  <a:pt x="273815" y="490956"/>
                  <a:pt x="259609" y="505231"/>
                  <a:pt x="259609" y="523214"/>
                </a:cubicBezTo>
                <a:cubicBezTo>
                  <a:pt x="259609" y="541290"/>
                  <a:pt x="273722" y="555473"/>
                  <a:pt x="290528" y="555473"/>
                </a:cubicBezTo>
                <a:cubicBezTo>
                  <a:pt x="307241" y="555473"/>
                  <a:pt x="321540" y="541290"/>
                  <a:pt x="321540" y="523214"/>
                </a:cubicBezTo>
                <a:cubicBezTo>
                  <a:pt x="321540" y="505231"/>
                  <a:pt x="307241" y="490956"/>
                  <a:pt x="290528" y="490956"/>
                </a:cubicBezTo>
                <a:close/>
                <a:moveTo>
                  <a:pt x="102042" y="490956"/>
                </a:moveTo>
                <a:cubicBezTo>
                  <a:pt x="85329" y="490956"/>
                  <a:pt x="71030" y="505231"/>
                  <a:pt x="71030" y="523214"/>
                </a:cubicBezTo>
                <a:cubicBezTo>
                  <a:pt x="71030" y="541290"/>
                  <a:pt x="85143" y="555473"/>
                  <a:pt x="102042" y="555473"/>
                </a:cubicBezTo>
                <a:cubicBezTo>
                  <a:pt x="118848" y="555473"/>
                  <a:pt x="132961" y="541290"/>
                  <a:pt x="132961" y="523214"/>
                </a:cubicBezTo>
                <a:cubicBezTo>
                  <a:pt x="132961" y="505231"/>
                  <a:pt x="118755" y="490956"/>
                  <a:pt x="102042" y="490956"/>
                </a:cubicBezTo>
                <a:close/>
                <a:moveTo>
                  <a:pt x="521520" y="350714"/>
                </a:moveTo>
                <a:lnTo>
                  <a:pt x="521520" y="394466"/>
                </a:lnTo>
                <a:lnTo>
                  <a:pt x="556324" y="394466"/>
                </a:lnTo>
                <a:lnTo>
                  <a:pt x="556324" y="350714"/>
                </a:lnTo>
                <a:close/>
                <a:moveTo>
                  <a:pt x="50510" y="349500"/>
                </a:moveTo>
                <a:lnTo>
                  <a:pt x="50510" y="459346"/>
                </a:lnTo>
                <a:cubicBezTo>
                  <a:pt x="64716" y="447852"/>
                  <a:pt x="82729" y="440900"/>
                  <a:pt x="102135" y="440900"/>
                </a:cubicBezTo>
                <a:cubicBezTo>
                  <a:pt x="127855" y="440900"/>
                  <a:pt x="151067" y="453043"/>
                  <a:pt x="166294" y="471860"/>
                </a:cubicBezTo>
                <a:lnTo>
                  <a:pt x="226461" y="471860"/>
                </a:lnTo>
                <a:cubicBezTo>
                  <a:pt x="241689" y="453043"/>
                  <a:pt x="264808" y="440900"/>
                  <a:pt x="290528" y="440900"/>
                </a:cubicBezTo>
                <a:cubicBezTo>
                  <a:pt x="303898" y="440900"/>
                  <a:pt x="316712" y="444237"/>
                  <a:pt x="327946" y="450077"/>
                </a:cubicBezTo>
                <a:lnTo>
                  <a:pt x="327946" y="349500"/>
                </a:lnTo>
                <a:close/>
                <a:moveTo>
                  <a:pt x="495718" y="299082"/>
                </a:moveTo>
                <a:lnTo>
                  <a:pt x="580827" y="299082"/>
                </a:lnTo>
                <a:cubicBezTo>
                  <a:pt x="595027" y="299082"/>
                  <a:pt x="606721" y="310669"/>
                  <a:pt x="606721" y="324851"/>
                </a:cubicBezTo>
                <a:lnTo>
                  <a:pt x="606721" y="418938"/>
                </a:lnTo>
                <a:cubicBezTo>
                  <a:pt x="606721" y="433120"/>
                  <a:pt x="595027" y="444800"/>
                  <a:pt x="580827" y="444800"/>
                </a:cubicBezTo>
                <a:lnTo>
                  <a:pt x="495718" y="444800"/>
                </a:lnTo>
                <a:cubicBezTo>
                  <a:pt x="481611" y="444800"/>
                  <a:pt x="469917" y="433120"/>
                  <a:pt x="469824" y="418938"/>
                </a:cubicBezTo>
                <a:lnTo>
                  <a:pt x="469824" y="324851"/>
                </a:lnTo>
                <a:cubicBezTo>
                  <a:pt x="469824" y="310669"/>
                  <a:pt x="481425" y="299082"/>
                  <a:pt x="495718" y="299082"/>
                </a:cubicBezTo>
                <a:close/>
                <a:moveTo>
                  <a:pt x="419582" y="216591"/>
                </a:moveTo>
                <a:cubicBezTo>
                  <a:pt x="433784" y="216591"/>
                  <a:pt x="445387" y="228270"/>
                  <a:pt x="445387" y="242453"/>
                </a:cubicBezTo>
                <a:lnTo>
                  <a:pt x="445387" y="473076"/>
                </a:lnTo>
                <a:lnTo>
                  <a:pt x="582209" y="473076"/>
                </a:lnTo>
                <a:cubicBezTo>
                  <a:pt x="596318" y="473076"/>
                  <a:pt x="607921" y="484663"/>
                  <a:pt x="607921" y="498938"/>
                </a:cubicBezTo>
                <a:cubicBezTo>
                  <a:pt x="607921" y="513120"/>
                  <a:pt x="595019" y="523409"/>
                  <a:pt x="580816" y="523409"/>
                </a:cubicBezTo>
                <a:lnTo>
                  <a:pt x="419582" y="523409"/>
                </a:lnTo>
                <a:cubicBezTo>
                  <a:pt x="405287" y="523409"/>
                  <a:pt x="393684" y="511730"/>
                  <a:pt x="393684" y="497547"/>
                </a:cubicBezTo>
                <a:lnTo>
                  <a:pt x="393684" y="242453"/>
                </a:lnTo>
                <a:cubicBezTo>
                  <a:pt x="393684" y="228270"/>
                  <a:pt x="405287" y="216591"/>
                  <a:pt x="419582" y="216591"/>
                </a:cubicBezTo>
                <a:close/>
                <a:moveTo>
                  <a:pt x="100742" y="51758"/>
                </a:moveTo>
                <a:lnTo>
                  <a:pt x="100742" y="299073"/>
                </a:lnTo>
                <a:lnTo>
                  <a:pt x="245403" y="299073"/>
                </a:lnTo>
                <a:lnTo>
                  <a:pt x="245403" y="213978"/>
                </a:lnTo>
                <a:cubicBezTo>
                  <a:pt x="245403" y="170225"/>
                  <a:pt x="228504" y="128975"/>
                  <a:pt x="197585" y="98107"/>
                </a:cubicBezTo>
                <a:cubicBezTo>
                  <a:pt x="171680" y="72337"/>
                  <a:pt x="136954" y="55559"/>
                  <a:pt x="100742" y="51758"/>
                </a:cubicBezTo>
                <a:close/>
                <a:moveTo>
                  <a:pt x="77994" y="9"/>
                </a:moveTo>
                <a:cubicBezTo>
                  <a:pt x="80849" y="-53"/>
                  <a:pt x="82729" y="219"/>
                  <a:pt x="82729" y="219"/>
                </a:cubicBezTo>
                <a:cubicBezTo>
                  <a:pt x="139554" y="219"/>
                  <a:pt x="194985" y="23393"/>
                  <a:pt x="235003" y="63345"/>
                </a:cubicBezTo>
                <a:cubicBezTo>
                  <a:pt x="274929" y="103298"/>
                  <a:pt x="296842" y="157433"/>
                  <a:pt x="296842" y="214163"/>
                </a:cubicBezTo>
                <a:lnTo>
                  <a:pt x="296842" y="299166"/>
                </a:lnTo>
                <a:lnTo>
                  <a:pt x="353666" y="299166"/>
                </a:lnTo>
                <a:cubicBezTo>
                  <a:pt x="367965" y="299166"/>
                  <a:pt x="379571" y="310753"/>
                  <a:pt x="379292" y="324843"/>
                </a:cubicBezTo>
                <a:lnTo>
                  <a:pt x="379292" y="499021"/>
                </a:lnTo>
                <a:cubicBezTo>
                  <a:pt x="379292" y="505695"/>
                  <a:pt x="376693" y="511535"/>
                  <a:pt x="372514" y="515799"/>
                </a:cubicBezTo>
                <a:cubicBezTo>
                  <a:pt x="372793" y="518301"/>
                  <a:pt x="374650" y="605900"/>
                  <a:pt x="290342" y="605900"/>
                </a:cubicBezTo>
                <a:cubicBezTo>
                  <a:pt x="245124" y="605900"/>
                  <a:pt x="207706" y="568636"/>
                  <a:pt x="207706" y="523492"/>
                </a:cubicBezTo>
                <a:lnTo>
                  <a:pt x="184493" y="523492"/>
                </a:lnTo>
                <a:cubicBezTo>
                  <a:pt x="183193" y="568636"/>
                  <a:pt x="147074" y="605900"/>
                  <a:pt x="101856" y="605900"/>
                </a:cubicBezTo>
                <a:cubicBezTo>
                  <a:pt x="56731" y="605900"/>
                  <a:pt x="19313" y="568636"/>
                  <a:pt x="19313" y="523492"/>
                </a:cubicBezTo>
                <a:cubicBezTo>
                  <a:pt x="19313" y="523122"/>
                  <a:pt x="0" y="517189"/>
                  <a:pt x="0" y="497630"/>
                </a:cubicBezTo>
                <a:lnTo>
                  <a:pt x="0" y="325029"/>
                </a:lnTo>
                <a:cubicBezTo>
                  <a:pt x="0" y="310753"/>
                  <a:pt x="11606" y="299166"/>
                  <a:pt x="25905" y="299166"/>
                </a:cubicBezTo>
                <a:lnTo>
                  <a:pt x="50418" y="299166"/>
                </a:lnTo>
                <a:lnTo>
                  <a:pt x="50418" y="25988"/>
                </a:lnTo>
                <a:cubicBezTo>
                  <a:pt x="52089" y="3394"/>
                  <a:pt x="69428" y="196"/>
                  <a:pt x="77994" y="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/>
          <a:lstStyle/>
          <a:p>
            <a:endParaRPr lang="zh-CN" altLang="en-US" dirty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botic-arm_3798">
            <a:extLst>
              <a:ext uri="{FF2B5EF4-FFF2-40B4-BE49-F238E27FC236}">
                <a16:creationId xmlns:a16="http://schemas.microsoft.com/office/drawing/2014/main" id="{55535F63-B503-4F63-B45F-97718C401CF8}"/>
              </a:ext>
            </a:extLst>
          </p:cNvPr>
          <p:cNvSpPr>
            <a:spLocks noChangeAspect="1"/>
          </p:cNvSpPr>
          <p:nvPr/>
        </p:nvSpPr>
        <p:spPr bwMode="auto">
          <a:xfrm>
            <a:off x="4456694" y="4138649"/>
            <a:ext cx="743447" cy="583106"/>
          </a:xfrm>
          <a:custGeom>
            <a:avLst/>
            <a:gdLst>
              <a:gd name="connsiteX0" fmla="*/ 194066 w 609218"/>
              <a:gd name="connsiteY0" fmla="*/ 253381 h 477827"/>
              <a:gd name="connsiteX1" fmla="*/ 351654 w 609218"/>
              <a:gd name="connsiteY1" fmla="*/ 408172 h 477827"/>
              <a:gd name="connsiteX2" fmla="*/ 405906 w 609218"/>
              <a:gd name="connsiteY2" fmla="*/ 408172 h 477827"/>
              <a:gd name="connsiteX3" fmla="*/ 405906 w 609218"/>
              <a:gd name="connsiteY3" fmla="*/ 477827 h 477827"/>
              <a:gd name="connsiteX4" fmla="*/ 217317 w 609218"/>
              <a:gd name="connsiteY4" fmla="*/ 477827 h 477827"/>
              <a:gd name="connsiteX5" fmla="*/ 217317 w 609218"/>
              <a:gd name="connsiteY5" fmla="*/ 408172 h 477827"/>
              <a:gd name="connsiteX6" fmla="*/ 237984 w 609218"/>
              <a:gd name="connsiteY6" fmla="*/ 408172 h 477827"/>
              <a:gd name="connsiteX7" fmla="*/ 137231 w 609218"/>
              <a:gd name="connsiteY7" fmla="*/ 307558 h 477827"/>
              <a:gd name="connsiteX8" fmla="*/ 173399 w 609218"/>
              <a:gd name="connsiteY8" fmla="*/ 286919 h 477827"/>
              <a:gd name="connsiteX9" fmla="*/ 194066 w 609218"/>
              <a:gd name="connsiteY9" fmla="*/ 253381 h 477827"/>
              <a:gd name="connsiteX10" fmla="*/ 91763 w 609218"/>
              <a:gd name="connsiteY10" fmla="*/ 157485 h 477827"/>
              <a:gd name="connsiteX11" fmla="*/ 129378 w 609218"/>
              <a:gd name="connsiteY11" fmla="*/ 195100 h 477827"/>
              <a:gd name="connsiteX12" fmla="*/ 91763 w 609218"/>
              <a:gd name="connsiteY12" fmla="*/ 232715 h 477827"/>
              <a:gd name="connsiteX13" fmla="*/ 54148 w 609218"/>
              <a:gd name="connsiteY13" fmla="*/ 195100 h 477827"/>
              <a:gd name="connsiteX14" fmla="*/ 91763 w 609218"/>
              <a:gd name="connsiteY14" fmla="*/ 157485 h 477827"/>
              <a:gd name="connsiteX15" fmla="*/ 90471 w 609218"/>
              <a:gd name="connsiteY15" fmla="*/ 126600 h 477827"/>
              <a:gd name="connsiteX16" fmla="*/ 20679 w 609218"/>
              <a:gd name="connsiteY16" fmla="*/ 196391 h 477827"/>
              <a:gd name="connsiteX17" fmla="*/ 90471 w 609218"/>
              <a:gd name="connsiteY17" fmla="*/ 266182 h 477827"/>
              <a:gd name="connsiteX18" fmla="*/ 160262 w 609218"/>
              <a:gd name="connsiteY18" fmla="*/ 196391 h 477827"/>
              <a:gd name="connsiteX19" fmla="*/ 90471 w 609218"/>
              <a:gd name="connsiteY19" fmla="*/ 126600 h 477827"/>
              <a:gd name="connsiteX20" fmla="*/ 90471 w 609218"/>
              <a:gd name="connsiteY20" fmla="*/ 103336 h 477827"/>
              <a:gd name="connsiteX21" fmla="*/ 183526 w 609218"/>
              <a:gd name="connsiteY21" fmla="*/ 196391 h 477827"/>
              <a:gd name="connsiteX22" fmla="*/ 90471 w 609218"/>
              <a:gd name="connsiteY22" fmla="*/ 286861 h 477827"/>
              <a:gd name="connsiteX23" fmla="*/ 0 w 609218"/>
              <a:gd name="connsiteY23" fmla="*/ 196391 h 477827"/>
              <a:gd name="connsiteX24" fmla="*/ 90471 w 609218"/>
              <a:gd name="connsiteY24" fmla="*/ 103336 h 477827"/>
              <a:gd name="connsiteX25" fmla="*/ 473359 w 609218"/>
              <a:gd name="connsiteY25" fmla="*/ 0 h 477827"/>
              <a:gd name="connsiteX26" fmla="*/ 589810 w 609218"/>
              <a:gd name="connsiteY26" fmla="*/ 38732 h 477827"/>
              <a:gd name="connsiteX27" fmla="*/ 594985 w 609218"/>
              <a:gd name="connsiteY27" fmla="*/ 51643 h 477827"/>
              <a:gd name="connsiteX28" fmla="*/ 589810 w 609218"/>
              <a:gd name="connsiteY28" fmla="*/ 56807 h 477827"/>
              <a:gd name="connsiteX29" fmla="*/ 584634 w 609218"/>
              <a:gd name="connsiteY29" fmla="*/ 56807 h 477827"/>
              <a:gd name="connsiteX30" fmla="*/ 473359 w 609218"/>
              <a:gd name="connsiteY30" fmla="*/ 20657 h 477827"/>
              <a:gd name="connsiteX31" fmla="*/ 431954 w 609218"/>
              <a:gd name="connsiteY31" fmla="*/ 74882 h 477827"/>
              <a:gd name="connsiteX32" fmla="*/ 447481 w 609218"/>
              <a:gd name="connsiteY32" fmla="*/ 144600 h 477827"/>
              <a:gd name="connsiteX33" fmla="*/ 509588 w 609218"/>
              <a:gd name="connsiteY33" fmla="*/ 178168 h 477827"/>
              <a:gd name="connsiteX34" fmla="*/ 592397 w 609218"/>
              <a:gd name="connsiteY34" fmla="*/ 95539 h 477827"/>
              <a:gd name="connsiteX35" fmla="*/ 605336 w 609218"/>
              <a:gd name="connsiteY35" fmla="*/ 95539 h 477827"/>
              <a:gd name="connsiteX36" fmla="*/ 605336 w 609218"/>
              <a:gd name="connsiteY36" fmla="*/ 108450 h 477827"/>
              <a:gd name="connsiteX37" fmla="*/ 517351 w 609218"/>
              <a:gd name="connsiteY37" fmla="*/ 196243 h 477827"/>
              <a:gd name="connsiteX38" fmla="*/ 512176 w 609218"/>
              <a:gd name="connsiteY38" fmla="*/ 198825 h 477827"/>
              <a:gd name="connsiteX39" fmla="*/ 507000 w 609218"/>
              <a:gd name="connsiteY39" fmla="*/ 196243 h 477827"/>
              <a:gd name="connsiteX40" fmla="*/ 452657 w 609218"/>
              <a:gd name="connsiteY40" fmla="*/ 170421 h 477827"/>
              <a:gd name="connsiteX41" fmla="*/ 421603 w 609218"/>
              <a:gd name="connsiteY41" fmla="*/ 178168 h 477827"/>
              <a:gd name="connsiteX42" fmla="*/ 416427 w 609218"/>
              <a:gd name="connsiteY42" fmla="*/ 157511 h 477827"/>
              <a:gd name="connsiteX43" fmla="*/ 199053 w 609218"/>
              <a:gd name="connsiteY43" fmla="*/ 209153 h 477827"/>
              <a:gd name="connsiteX44" fmla="*/ 199053 w 609218"/>
              <a:gd name="connsiteY44" fmla="*/ 165257 h 477827"/>
              <a:gd name="connsiteX45" fmla="*/ 183526 w 609218"/>
              <a:gd name="connsiteY45" fmla="*/ 129107 h 477827"/>
              <a:gd name="connsiteX46" fmla="*/ 398313 w 609218"/>
              <a:gd name="connsiteY46" fmla="*/ 80046 h 477827"/>
              <a:gd name="connsiteX47" fmla="*/ 393137 w 609218"/>
              <a:gd name="connsiteY47" fmla="*/ 61972 h 477827"/>
              <a:gd name="connsiteX48" fmla="*/ 424191 w 609218"/>
              <a:gd name="connsiteY48" fmla="*/ 54225 h 477827"/>
              <a:gd name="connsiteX49" fmla="*/ 463008 w 609218"/>
              <a:gd name="connsiteY49" fmla="*/ 2582 h 477827"/>
              <a:gd name="connsiteX50" fmla="*/ 473359 w 609218"/>
              <a:gd name="connsiteY50" fmla="*/ 0 h 47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218" h="477827">
                <a:moveTo>
                  <a:pt x="194066" y="253381"/>
                </a:moveTo>
                <a:lnTo>
                  <a:pt x="351654" y="408172"/>
                </a:lnTo>
                <a:lnTo>
                  <a:pt x="405906" y="408172"/>
                </a:lnTo>
                <a:lnTo>
                  <a:pt x="405906" y="477827"/>
                </a:lnTo>
                <a:lnTo>
                  <a:pt x="217317" y="477827"/>
                </a:lnTo>
                <a:lnTo>
                  <a:pt x="217317" y="408172"/>
                </a:lnTo>
                <a:lnTo>
                  <a:pt x="237984" y="408172"/>
                </a:lnTo>
                <a:lnTo>
                  <a:pt x="137231" y="307558"/>
                </a:lnTo>
                <a:cubicBezTo>
                  <a:pt x="150148" y="304978"/>
                  <a:pt x="163065" y="297239"/>
                  <a:pt x="173399" y="286919"/>
                </a:cubicBezTo>
                <a:cubicBezTo>
                  <a:pt x="183732" y="276600"/>
                  <a:pt x="191483" y="266280"/>
                  <a:pt x="194066" y="253381"/>
                </a:cubicBezTo>
                <a:close/>
                <a:moveTo>
                  <a:pt x="91763" y="157485"/>
                </a:moveTo>
                <a:cubicBezTo>
                  <a:pt x="112537" y="157485"/>
                  <a:pt x="129378" y="174326"/>
                  <a:pt x="129378" y="195100"/>
                </a:cubicBezTo>
                <a:cubicBezTo>
                  <a:pt x="129378" y="215874"/>
                  <a:pt x="112537" y="232715"/>
                  <a:pt x="91763" y="232715"/>
                </a:cubicBezTo>
                <a:cubicBezTo>
                  <a:pt x="70989" y="232715"/>
                  <a:pt x="54148" y="215874"/>
                  <a:pt x="54148" y="195100"/>
                </a:cubicBezTo>
                <a:cubicBezTo>
                  <a:pt x="54148" y="174326"/>
                  <a:pt x="70989" y="157485"/>
                  <a:pt x="91763" y="157485"/>
                </a:cubicBezTo>
                <a:close/>
                <a:moveTo>
                  <a:pt x="90471" y="126600"/>
                </a:moveTo>
                <a:cubicBezTo>
                  <a:pt x="51697" y="126600"/>
                  <a:pt x="20679" y="157618"/>
                  <a:pt x="20679" y="196391"/>
                </a:cubicBezTo>
                <a:cubicBezTo>
                  <a:pt x="20679" y="232579"/>
                  <a:pt x="51697" y="266182"/>
                  <a:pt x="90471" y="266182"/>
                </a:cubicBezTo>
                <a:cubicBezTo>
                  <a:pt x="129244" y="266182"/>
                  <a:pt x="160262" y="232579"/>
                  <a:pt x="160262" y="196391"/>
                </a:cubicBezTo>
                <a:cubicBezTo>
                  <a:pt x="160262" y="157618"/>
                  <a:pt x="129244" y="126600"/>
                  <a:pt x="90471" y="126600"/>
                </a:cubicBezTo>
                <a:close/>
                <a:moveTo>
                  <a:pt x="90471" y="103336"/>
                </a:moveTo>
                <a:cubicBezTo>
                  <a:pt x="142168" y="103336"/>
                  <a:pt x="183526" y="144694"/>
                  <a:pt x="183526" y="196391"/>
                </a:cubicBezTo>
                <a:cubicBezTo>
                  <a:pt x="183526" y="245503"/>
                  <a:pt x="142168" y="286861"/>
                  <a:pt x="90471" y="286861"/>
                </a:cubicBezTo>
                <a:cubicBezTo>
                  <a:pt x="41358" y="286861"/>
                  <a:pt x="0" y="245503"/>
                  <a:pt x="0" y="196391"/>
                </a:cubicBezTo>
                <a:cubicBezTo>
                  <a:pt x="0" y="144694"/>
                  <a:pt x="41358" y="103336"/>
                  <a:pt x="90471" y="103336"/>
                </a:cubicBezTo>
                <a:close/>
                <a:moveTo>
                  <a:pt x="473359" y="0"/>
                </a:moveTo>
                <a:lnTo>
                  <a:pt x="589810" y="38732"/>
                </a:lnTo>
                <a:cubicBezTo>
                  <a:pt x="594985" y="41314"/>
                  <a:pt x="597573" y="46479"/>
                  <a:pt x="594985" y="51643"/>
                </a:cubicBezTo>
                <a:cubicBezTo>
                  <a:pt x="594985" y="54225"/>
                  <a:pt x="592397" y="56807"/>
                  <a:pt x="589810" y="56807"/>
                </a:cubicBezTo>
                <a:cubicBezTo>
                  <a:pt x="587222" y="56807"/>
                  <a:pt x="584634" y="56807"/>
                  <a:pt x="584634" y="56807"/>
                </a:cubicBezTo>
                <a:lnTo>
                  <a:pt x="473359" y="20657"/>
                </a:lnTo>
                <a:lnTo>
                  <a:pt x="431954" y="74882"/>
                </a:lnTo>
                <a:lnTo>
                  <a:pt x="447481" y="144600"/>
                </a:lnTo>
                <a:lnTo>
                  <a:pt x="509588" y="178168"/>
                </a:lnTo>
                <a:lnTo>
                  <a:pt x="592397" y="95539"/>
                </a:lnTo>
                <a:cubicBezTo>
                  <a:pt x="597573" y="92957"/>
                  <a:pt x="602749" y="92957"/>
                  <a:pt x="605336" y="95539"/>
                </a:cubicBezTo>
                <a:cubicBezTo>
                  <a:pt x="610512" y="100704"/>
                  <a:pt x="610512" y="105868"/>
                  <a:pt x="605336" y="108450"/>
                </a:cubicBezTo>
                <a:lnTo>
                  <a:pt x="517351" y="196243"/>
                </a:lnTo>
                <a:cubicBezTo>
                  <a:pt x="517351" y="196243"/>
                  <a:pt x="514764" y="198825"/>
                  <a:pt x="512176" y="198825"/>
                </a:cubicBezTo>
                <a:cubicBezTo>
                  <a:pt x="512176" y="198825"/>
                  <a:pt x="509588" y="198825"/>
                  <a:pt x="507000" y="196243"/>
                </a:cubicBezTo>
                <a:lnTo>
                  <a:pt x="452657" y="170421"/>
                </a:lnTo>
                <a:lnTo>
                  <a:pt x="421603" y="178168"/>
                </a:lnTo>
                <a:lnTo>
                  <a:pt x="416427" y="157511"/>
                </a:lnTo>
                <a:lnTo>
                  <a:pt x="199053" y="209153"/>
                </a:lnTo>
                <a:cubicBezTo>
                  <a:pt x="201641" y="193660"/>
                  <a:pt x="201641" y="180750"/>
                  <a:pt x="199053" y="165257"/>
                </a:cubicBezTo>
                <a:cubicBezTo>
                  <a:pt x="196465" y="152346"/>
                  <a:pt x="191289" y="139436"/>
                  <a:pt x="183526" y="129107"/>
                </a:cubicBezTo>
                <a:lnTo>
                  <a:pt x="398313" y="80046"/>
                </a:lnTo>
                <a:lnTo>
                  <a:pt x="393137" y="61972"/>
                </a:lnTo>
                <a:lnTo>
                  <a:pt x="424191" y="54225"/>
                </a:lnTo>
                <a:lnTo>
                  <a:pt x="463008" y="2582"/>
                </a:lnTo>
                <a:cubicBezTo>
                  <a:pt x="465596" y="0"/>
                  <a:pt x="468183" y="0"/>
                  <a:pt x="473359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</p:sp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26" name="í$ľíde">
            <a:extLst>
              <a:ext uri="{FF2B5EF4-FFF2-40B4-BE49-F238E27FC236}">
                <a16:creationId xmlns:a16="http://schemas.microsoft.com/office/drawing/2014/main" id="{6BB39732-C28F-4930-911E-29CA799045B4}"/>
              </a:ext>
            </a:extLst>
          </p:cNvPr>
          <p:cNvSpPr/>
          <p:nvPr/>
        </p:nvSpPr>
        <p:spPr bwMode="auto">
          <a:xfrm>
            <a:off x="2052872" y="2043861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:a16="http://schemas.microsoft.com/office/drawing/2014/main" id="{7B8F6EDB-DDBD-4823-8FF0-29380A0AAFE4}"/>
              </a:ext>
            </a:extLst>
          </p:cNvPr>
          <p:cNvSpPr txBox="1"/>
          <p:nvPr/>
        </p:nvSpPr>
        <p:spPr bwMode="auto">
          <a:xfrm>
            <a:off x="2005289" y="162598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:a16="http://schemas.microsoft.com/office/drawing/2014/main" id="{94DBBD6D-EF64-4BF9-BDCD-9C0C20E112F2}"/>
              </a:ext>
            </a:extLst>
          </p:cNvPr>
          <p:cNvSpPr/>
          <p:nvPr/>
        </p:nvSpPr>
        <p:spPr bwMode="auto">
          <a:xfrm>
            <a:off x="7380105" y="1985164"/>
            <a:ext cx="2543260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信息清晰</a:t>
            </a:r>
            <a:r>
              <a:rPr lang="en-US" altLang="zh-CN" sz="1100" dirty="0"/>
              <a:t>.</a:t>
            </a:r>
          </a:p>
        </p:txBody>
      </p:sp>
      <p:sp>
        <p:nvSpPr>
          <p:cNvPr id="25" name="îSlîḍe">
            <a:extLst>
              <a:ext uri="{FF2B5EF4-FFF2-40B4-BE49-F238E27FC236}">
                <a16:creationId xmlns:a16="http://schemas.microsoft.com/office/drawing/2014/main" id="{FD6B23E9-CFA3-45D7-80AE-A20B0F5D2972}"/>
              </a:ext>
            </a:extLst>
          </p:cNvPr>
          <p:cNvSpPr txBox="1"/>
          <p:nvPr/>
        </p:nvSpPr>
        <p:spPr bwMode="auto">
          <a:xfrm>
            <a:off x="7456968" y="1628441"/>
            <a:ext cx="119092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:a16="http://schemas.microsoft.com/office/drawing/2014/main" id="{0B1C5CF6-804D-4DF8-82DE-FA66A1AE519D}"/>
              </a:ext>
            </a:extLst>
          </p:cNvPr>
          <p:cNvSpPr/>
          <p:nvPr/>
        </p:nvSpPr>
        <p:spPr bwMode="auto">
          <a:xfrm>
            <a:off x="8433037" y="4122492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:a16="http://schemas.microsoft.com/office/drawing/2014/main" id="{76E82822-E81F-40EC-BFF6-046BBF0D23EF}"/>
              </a:ext>
            </a:extLst>
          </p:cNvPr>
          <p:cNvSpPr txBox="1"/>
          <p:nvPr/>
        </p:nvSpPr>
        <p:spPr bwMode="auto">
          <a:xfrm>
            <a:off x="8433036" y="3712752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:a16="http://schemas.microsoft.com/office/drawing/2014/main" id="{A34FBCBF-FD23-415E-8160-4E3A8F8A010D}"/>
              </a:ext>
            </a:extLst>
          </p:cNvPr>
          <p:cNvSpPr/>
          <p:nvPr/>
        </p:nvSpPr>
        <p:spPr bwMode="auto">
          <a:xfrm>
            <a:off x="7226601" y="600459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:a16="http://schemas.microsoft.com/office/drawing/2014/main" id="{308BA017-0A53-436D-8E92-31EA2863F5F3}"/>
              </a:ext>
            </a:extLst>
          </p:cNvPr>
          <p:cNvSpPr txBox="1"/>
          <p:nvPr/>
        </p:nvSpPr>
        <p:spPr bwMode="auto">
          <a:xfrm>
            <a:off x="1802858" y="5695574"/>
            <a:ext cx="16097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6" name="íŝḻîdè">
            <a:extLst>
              <a:ext uri="{FF2B5EF4-FFF2-40B4-BE49-F238E27FC236}">
                <a16:creationId xmlns:a16="http://schemas.microsoft.com/office/drawing/2014/main" id="{42873B9F-5BAA-4767-9796-AA34C8A57CCD}"/>
              </a:ext>
            </a:extLst>
          </p:cNvPr>
          <p:cNvSpPr/>
          <p:nvPr/>
        </p:nvSpPr>
        <p:spPr>
          <a:xfrm rot="12495438">
            <a:off x="6252487" y="227685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:a16="http://schemas.microsoft.com/office/drawing/2014/main" id="{567EE99D-2AE5-4831-8E80-1D218BCD234E}"/>
              </a:ext>
            </a:extLst>
          </p:cNvPr>
          <p:cNvSpPr/>
          <p:nvPr/>
        </p:nvSpPr>
        <p:spPr>
          <a:xfrm rot="19681605" flipH="1">
            <a:off x="6242591" y="4305647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5400000">
            <a:off x="4413859" y="338474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:a16="http://schemas.microsoft.com/office/drawing/2014/main" id="{BDF45510-E58E-4E2B-A95E-A9D8B09FF78A}"/>
              </a:ext>
            </a:extLst>
          </p:cNvPr>
          <p:cNvSpPr/>
          <p:nvPr/>
        </p:nvSpPr>
        <p:spPr>
          <a:xfrm rot="8881606" flipH="1">
            <a:off x="5027600" y="235923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54740">
            <a:off x="5022765" y="443508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200000">
            <a:off x="6890132" y="3381929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7366100" y="3367631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:a16="http://schemas.microsoft.com/office/drawing/2014/main" id="{8A535C13-E5DE-4BD9-953B-294AE11F2052}"/>
              </a:ext>
            </a:extLst>
          </p:cNvPr>
          <p:cNvSpPr txBox="1"/>
          <p:nvPr/>
        </p:nvSpPr>
        <p:spPr bwMode="auto">
          <a:xfrm>
            <a:off x="7226601" y="5695574"/>
            <a:ext cx="13125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:a16="http://schemas.microsoft.com/office/drawing/2014/main" id="{F2DD0D9C-26C0-4150-AB4C-67FDEC43BF2D}"/>
              </a:ext>
            </a:extLst>
          </p:cNvPr>
          <p:cNvSpPr/>
          <p:nvPr/>
        </p:nvSpPr>
        <p:spPr bwMode="auto">
          <a:xfrm>
            <a:off x="1966813" y="6021345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:a16="http://schemas.microsoft.com/office/drawing/2014/main" id="{00B6B908-7CDC-4720-A39B-6F1CBD20131B}"/>
              </a:ext>
            </a:extLst>
          </p:cNvPr>
          <p:cNvSpPr txBox="1"/>
          <p:nvPr/>
        </p:nvSpPr>
        <p:spPr bwMode="auto">
          <a:xfrm>
            <a:off x="788660" y="3712752"/>
            <a:ext cx="1815952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:a16="http://schemas.microsoft.com/office/drawing/2014/main" id="{6F805E08-1900-4BA3-82E7-732305B28296}"/>
              </a:ext>
            </a:extLst>
          </p:cNvPr>
          <p:cNvSpPr/>
          <p:nvPr/>
        </p:nvSpPr>
        <p:spPr bwMode="auto">
          <a:xfrm>
            <a:off x="903480" y="4232107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10" name="îṥḷíḑe">
            <a:extLst>
              <a:ext uri="{FF2B5EF4-FFF2-40B4-BE49-F238E27FC236}">
                <a16:creationId xmlns:a16="http://schemas.microsoft.com/office/drawing/2014/main" id="{4DBDA4E1-611B-4473-93EB-1438B6DB3703}"/>
              </a:ext>
            </a:extLst>
          </p:cNvPr>
          <p:cNvSpPr/>
          <p:nvPr/>
        </p:nvSpPr>
        <p:spPr>
          <a:xfrm rot="249812">
            <a:off x="5202562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:a16="http://schemas.microsoft.com/office/drawing/2014/main" id="{C2FF5E9E-1C8C-4BC9-A676-F0E1F614C5B6}"/>
              </a:ext>
            </a:extLst>
          </p:cNvPr>
          <p:cNvSpPr/>
          <p:nvPr/>
        </p:nvSpPr>
        <p:spPr>
          <a:xfrm>
            <a:off x="5643005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:a16="http://schemas.microsoft.com/office/drawing/2014/main" id="{6A8F9E13-8ABC-4434-B4D4-D8BEBB302B81}"/>
              </a:ext>
            </a:extLst>
          </p:cNvPr>
          <p:cNvSpPr/>
          <p:nvPr/>
        </p:nvSpPr>
        <p:spPr bwMode="auto">
          <a:xfrm>
            <a:off x="4720268" y="188352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:a16="http://schemas.microsoft.com/office/drawing/2014/main" id="{03939E37-DA1C-47DE-8333-14B981AD526E}"/>
              </a:ext>
            </a:extLst>
          </p:cNvPr>
          <p:cNvSpPr/>
          <p:nvPr/>
        </p:nvSpPr>
        <p:spPr bwMode="auto">
          <a:xfrm>
            <a:off x="6413909" y="188978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:a16="http://schemas.microsoft.com/office/drawing/2014/main" id="{FB399C87-C3A6-4702-A03F-2257B7F59498}"/>
              </a:ext>
            </a:extLst>
          </p:cNvPr>
          <p:cNvSpPr/>
          <p:nvPr/>
        </p:nvSpPr>
        <p:spPr bwMode="auto">
          <a:xfrm>
            <a:off x="3854130" y="3385242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0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4749520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6577195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3B37D54-3ABA-40C6-91E3-36C5099C2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7735" y="1416435"/>
            <a:ext cx="6405309" cy="5068255"/>
          </a:xfrm>
          <a:prstGeom prst="rect">
            <a:avLst/>
          </a:prstGeom>
        </p:spPr>
      </p:pic>
      <p:sp>
        <p:nvSpPr>
          <p:cNvPr id="9" name="î$1ïḋê">
            <a:extLst>
              <a:ext uri="{FF2B5EF4-FFF2-40B4-BE49-F238E27FC236}">
                <a16:creationId xmlns:a16="http://schemas.microsoft.com/office/drawing/2014/main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:a16="http://schemas.microsoft.com/office/drawing/2014/main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:a16="http://schemas.microsoft.com/office/drawing/2014/main" id="{B13026E6-E9E0-48B0-8005-177E9E767B94}"/>
              </a:ext>
            </a:extLst>
          </p:cNvPr>
          <p:cNvSpPr/>
          <p:nvPr/>
        </p:nvSpPr>
        <p:spPr bwMode="auto">
          <a:xfrm>
            <a:off x="679524" y="1942275"/>
            <a:ext cx="2488771" cy="98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:a16="http://schemas.microsoft.com/office/drawing/2014/main" id="{40708105-5371-4723-B2A5-809601C4D4A5}"/>
              </a:ext>
            </a:extLst>
          </p:cNvPr>
          <p:cNvSpPr txBox="1"/>
          <p:nvPr/>
        </p:nvSpPr>
        <p:spPr bwMode="auto">
          <a:xfrm>
            <a:off x="679525" y="1523040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:a16="http://schemas.microsoft.com/office/drawing/2014/main" id="{0BE5BC24-3DA7-4E64-A48C-EB098C123F23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:a16="http://schemas.microsoft.com/office/drawing/2014/main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:a16="http://schemas.microsoft.com/office/drawing/2014/main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:a16="http://schemas.microsoft.com/office/drawing/2014/main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:a16="http://schemas.microsoft.com/office/drawing/2014/main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1768327-3367-4FC6-8922-86DEB5048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5105" y="2429286"/>
            <a:ext cx="7485382" cy="429053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9E6E455-D0C5-4275-BD4F-675BDFDFE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467" y="4154788"/>
            <a:ext cx="2895600" cy="20574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0635AF4C-F81B-47CD-B859-4664A952CD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977" y="1186019"/>
            <a:ext cx="2920580" cy="2133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6CDE69D7-25D0-49DB-87C4-17CC50FF2D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768" y="1297892"/>
            <a:ext cx="6976720" cy="527903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:a16="http://schemas.microsoft.com/office/drawing/2014/main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:a16="http://schemas.microsoft.com/office/drawing/2014/main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:a16="http://schemas.microsoft.com/office/drawing/2014/main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:a16="http://schemas.microsoft.com/office/drawing/2014/main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D45AD5D-FFA7-44ED-8851-6D4B0BB012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907" y="1121400"/>
            <a:ext cx="2251420" cy="545556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2FD09DB-A7D2-4AED-A9AC-E5EBE65A4C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7263" y="2472817"/>
            <a:ext cx="8134199" cy="386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A298DAE5-D1D7-47A4-88E4-79C842236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0762" y="1622272"/>
            <a:ext cx="6729722" cy="481846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4E93F28-A912-47C1-B5B1-C829D97ED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554428"/>
            <a:ext cx="3686924" cy="28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36C01206-1FB9-4A19-9304-B1AE67E3A0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59" y="3955095"/>
            <a:ext cx="3841221" cy="206835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7395BF5-20B9-4994-82AB-CCCD8286A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9749" y="1455984"/>
            <a:ext cx="6343543" cy="5008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:a16="http://schemas.microsoft.com/office/drawing/2014/main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:a16="http://schemas.microsoft.com/office/drawing/2014/main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:a16="http://schemas.microsoft.com/office/drawing/2014/main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:a16="http://schemas.microsoft.com/office/drawing/2014/main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:a16="http://schemas.microsoft.com/office/drawing/2014/main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:a16="http://schemas.microsoft.com/office/drawing/2014/main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:a16="http://schemas.microsoft.com/office/drawing/2014/main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:a16="http://schemas.microsoft.com/office/drawing/2014/main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:a16="http://schemas.microsoft.com/office/drawing/2014/main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:a16="http://schemas.microsoft.com/office/drawing/2014/main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1794926" y="2263049"/>
            <a:ext cx="9294629" cy="3632304"/>
            <a:chOff x="669396" y="3013089"/>
            <a:chExt cx="9294629" cy="3632304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3013089"/>
              <a:ext cx="9294629" cy="3632304"/>
              <a:chOff x="669396" y="3013089"/>
              <a:chExt cx="9294629" cy="3632304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3013089"/>
                <a:ext cx="9158835" cy="3146800"/>
                <a:chOff x="669396" y="3013089"/>
                <a:chExt cx="9158835" cy="3146800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3013089"/>
                  <a:ext cx="8939845" cy="3146800"/>
                  <a:chOff x="669396" y="3013089"/>
                  <a:chExt cx="8939845" cy="3146800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:a16="http://schemas.microsoft.com/office/drawing/2014/main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:a16="http://schemas.microsoft.com/office/drawing/2014/main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:a16="http://schemas.microsoft.com/office/drawing/2014/main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:a16="http://schemas.microsoft.com/office/drawing/2014/main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:a16="http://schemas.microsoft.com/office/drawing/2014/main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:a16="http://schemas.microsoft.com/office/drawing/2014/main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:a16="http://schemas.microsoft.com/office/drawing/2014/main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:a16="http://schemas.microsoft.com/office/drawing/2014/main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:a16="http://schemas.microsoft.com/office/drawing/2014/main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:a16="http://schemas.microsoft.com/office/drawing/2014/main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:a16="http://schemas.microsoft.com/office/drawing/2014/main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:a16="http://schemas.microsoft.com/office/drawing/2014/main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:a16="http://schemas.microsoft.com/office/drawing/2014/main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高</a:t>
                </a:r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根据系统指定位置取料，不会出错</a:t>
                </a:r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:a16="http://schemas.microsoft.com/office/drawing/2014/main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:a16="http://schemas.microsoft.com/office/drawing/2014/main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:a16="http://schemas.microsoft.com/office/drawing/2014/main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:a16="http://schemas.microsoft.com/office/drawing/2014/main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:a16="http://schemas.microsoft.com/office/drawing/2014/main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:a16="http://schemas.microsoft.com/office/drawing/2014/main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:a16="http://schemas.microsoft.com/office/drawing/2014/main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:a16="http://schemas.microsoft.com/office/drawing/2014/main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:a16="http://schemas.microsoft.com/office/drawing/2014/main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:a16="http://schemas.microsoft.com/office/drawing/2014/main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:a16="http://schemas.microsoft.com/office/drawing/2014/main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:a16="http://schemas.microsoft.com/office/drawing/2014/main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:a16="http://schemas.microsoft.com/office/drawing/2014/main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高</a:t>
                  </a:r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根据系统指定位置取料，不会出错</a:t>
                  </a:r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:a16="http://schemas.microsoft.com/office/drawing/2014/main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2208833" y="1464632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:a16="http://schemas.microsoft.com/office/drawing/2014/main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:a16="http://schemas.microsoft.com/office/drawing/2014/main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:a16="http://schemas.microsoft.com/office/drawing/2014/main" id="{45627171-E928-4650-9665-ED2888DEACCC}"/>
              </a:ext>
            </a:extLst>
          </p:cNvPr>
          <p:cNvSpPr/>
          <p:nvPr/>
        </p:nvSpPr>
        <p:spPr>
          <a:xfrm>
            <a:off x="4764326" y="2494021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:a16="http://schemas.microsoft.com/office/drawing/2014/main" id="{11BC275F-20E2-42DE-9C35-4DB6842389B0}"/>
              </a:ext>
            </a:extLst>
          </p:cNvPr>
          <p:cNvSpPr txBox="1"/>
          <p:nvPr/>
        </p:nvSpPr>
        <p:spPr>
          <a:xfrm>
            <a:off x="2307899" y="1740839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6EB562F3-3287-48A6-8D25-EA0C071A468C}"/>
              </a:ext>
            </a:extLst>
          </p:cNvPr>
          <p:cNvSpPr/>
          <p:nvPr/>
        </p:nvSpPr>
        <p:spPr>
          <a:xfrm>
            <a:off x="7831600" y="1868828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:a16="http://schemas.microsoft.com/office/drawing/2014/main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:a16="http://schemas.microsoft.com/office/drawing/2014/main" id="{C3F238D1-54E1-4B15-9193-56EEE6FB813A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:a16="http://schemas.microsoft.com/office/drawing/2014/main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:a16="http://schemas.microsoft.com/office/drawing/2014/main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:a16="http://schemas.microsoft.com/office/drawing/2014/main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:a16="http://schemas.microsoft.com/office/drawing/2014/main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:a16="http://schemas.microsoft.com/office/drawing/2014/main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:a16="http://schemas.microsoft.com/office/drawing/2014/main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:a16="http://schemas.microsoft.com/office/drawing/2014/main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:a16="http://schemas.microsoft.com/office/drawing/2014/main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:a16="http://schemas.microsoft.com/office/drawing/2014/main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:a16="http://schemas.microsoft.com/office/drawing/2014/main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:a16="http://schemas.microsoft.com/office/drawing/2014/main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:a16="http://schemas.microsoft.com/office/drawing/2014/main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:a16="http://schemas.microsoft.com/office/drawing/2014/main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:a16="http://schemas.microsoft.com/office/drawing/2014/main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:a16="http://schemas.microsoft.com/office/drawing/2014/main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:a16="http://schemas.microsoft.com/office/drawing/2014/main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:a16="http://schemas.microsoft.com/office/drawing/2014/main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:a16="http://schemas.microsoft.com/office/drawing/2014/main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:a16="http://schemas.microsoft.com/office/drawing/2014/main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:a16="http://schemas.microsoft.com/office/drawing/2014/main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:a16="http://schemas.microsoft.com/office/drawing/2014/main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:a16="http://schemas.microsoft.com/office/drawing/2014/main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:a16="http://schemas.microsoft.com/office/drawing/2014/main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:a16="http://schemas.microsoft.com/office/drawing/2014/main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:a16="http://schemas.microsoft.com/office/drawing/2014/main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:a16="http://schemas.microsoft.com/office/drawing/2014/main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:a16="http://schemas.microsoft.com/office/drawing/2014/main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:a16="http://schemas.microsoft.com/office/drawing/2014/main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:a16="http://schemas.microsoft.com/office/drawing/2014/main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:a16="http://schemas.microsoft.com/office/drawing/2014/main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:a16="http://schemas.microsoft.com/office/drawing/2014/main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:a16="http://schemas.microsoft.com/office/drawing/2014/main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:a16="http://schemas.microsoft.com/office/drawing/2014/main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:a16="http://schemas.microsoft.com/office/drawing/2014/main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:a16="http://schemas.microsoft.com/office/drawing/2014/main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:a16="http://schemas.microsoft.com/office/drawing/2014/main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:a16="http://schemas.microsoft.com/office/drawing/2014/main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:a16="http://schemas.microsoft.com/office/drawing/2014/main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:a16="http://schemas.microsoft.com/office/drawing/2014/main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:a16="http://schemas.microsoft.com/office/drawing/2014/main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:a16="http://schemas.microsoft.com/office/drawing/2014/main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3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:a16="http://schemas.microsoft.com/office/drawing/2014/main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:a16="http://schemas.microsoft.com/office/drawing/2014/main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076120" y="2435541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056065" y="3811629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04109" y="2087663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04109" y="2062209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476839" y="4777234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06019" y="2371012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847450" y="3060760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847450" y="4185606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2750" y="3107305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111833" y="162884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111833" y="240677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11833" y="318006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1833" y="39264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111833" y="2069647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111833" y="283872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833" y="360778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06572" y="464260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06573" y="4359290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7082" y="5413680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7082" y="5079248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10263554" y="2716885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056" y="584742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:a16="http://schemas.microsoft.com/office/drawing/2014/main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:a16="http://schemas.microsoft.com/office/drawing/2014/main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:a16="http://schemas.microsoft.com/office/drawing/2014/main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:a16="http://schemas.microsoft.com/office/drawing/2014/main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:a16="http://schemas.microsoft.com/office/drawing/2014/main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:a16="http://schemas.microsoft.com/office/drawing/2014/main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:a16="http://schemas.microsoft.com/office/drawing/2014/main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:a16="http://schemas.microsoft.com/office/drawing/2014/main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:a16="http://schemas.microsoft.com/office/drawing/2014/main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:a16="http://schemas.microsoft.com/office/drawing/2014/main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:a16="http://schemas.microsoft.com/office/drawing/2014/main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:a16="http://schemas.microsoft.com/office/drawing/2014/main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:a16="http://schemas.microsoft.com/office/drawing/2014/main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:a16="http://schemas.microsoft.com/office/drawing/2014/main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:a16="http://schemas.microsoft.com/office/drawing/2014/main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:a16="http://schemas.microsoft.com/office/drawing/2014/main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:a16="http://schemas.microsoft.com/office/drawing/2014/main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:a16="http://schemas.microsoft.com/office/drawing/2014/main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:a16="http://schemas.microsoft.com/office/drawing/2014/main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:a16="http://schemas.microsoft.com/office/drawing/2014/main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:a16="http://schemas.microsoft.com/office/drawing/2014/main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:a16="http://schemas.microsoft.com/office/drawing/2014/main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6320" y="2626664"/>
            <a:ext cx="1223128" cy="24766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存取效率</a:t>
            </a: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货物质量</a:t>
            </a:r>
            <a:endParaRPr lang="en-US" altLang="zh-CN" sz="2800" b="1" dirty="0">
              <a:latin typeface="+mn-ea"/>
            </a:endParaRPr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210435" y="1673393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自动化程度高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210435" y="2959912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出入库错误率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74012" y="4194322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信息同步化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94043" y="5324479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日志记录 问题追溯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210435" y="2145353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210435" y="339248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210435" y="463961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74012" y="5779479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下箭头 4"/>
          <p:cNvSpPr/>
          <p:nvPr/>
        </p:nvSpPr>
        <p:spPr>
          <a:xfrm flipV="1">
            <a:off x="10150600" y="2624728"/>
            <a:ext cx="902166" cy="216484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šḷiḍé">
            <a:extLst>
              <a:ext uri="{FF2B5EF4-FFF2-40B4-BE49-F238E27FC236}">
                <a16:creationId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139806" y="2547043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ïSlíḋe">
            <a:extLst>
              <a:ext uri="{FF2B5EF4-FFF2-40B4-BE49-F238E27FC236}">
                <a16:creationId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119751" y="3923131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îṣḷíḑè">
            <a:extLst>
              <a:ext uri="{FF2B5EF4-FFF2-40B4-BE49-F238E27FC236}">
                <a16:creationId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67795" y="2199165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3" name="îśḷîďè">
            <a:extLst>
              <a:ext uri="{FF2B5EF4-FFF2-40B4-BE49-F238E27FC236}">
                <a16:creationId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67795" y="2173711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iśḷiḍè">
            <a:extLst>
              <a:ext uri="{FF2B5EF4-FFF2-40B4-BE49-F238E27FC236}">
                <a16:creationId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540525" y="4888736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ïşļïḋe">
            <a:extLst>
              <a:ext uri="{FF2B5EF4-FFF2-40B4-BE49-F238E27FC236}">
                <a16:creationId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69705" y="2482514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í$liḍe">
            <a:extLst>
              <a:ext uri="{FF2B5EF4-FFF2-40B4-BE49-F238E27FC236}">
                <a16:creationId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911136" y="3172262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íśļïḍè">
            <a:extLst>
              <a:ext uri="{FF2B5EF4-FFF2-40B4-BE49-F238E27FC236}">
                <a16:creationId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911136" y="4297108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408</TotalTime>
  <Words>1366</Words>
  <Application>Microsoft Office PowerPoint</Application>
  <PresentationFormat>宽屏</PresentationFormat>
  <Paragraphs>276</Paragraphs>
  <Slides>24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Hardy Yao</cp:lastModifiedBy>
  <cp:revision>340</cp:revision>
  <cp:lastPrinted>2017-09-28T16:00:00Z</cp:lastPrinted>
  <dcterms:created xsi:type="dcterms:W3CDTF">2017-09-28T16:00:00Z</dcterms:created>
  <dcterms:modified xsi:type="dcterms:W3CDTF">2018-09-12T02:0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